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tags/tag38.xml" ContentType="application/vnd.openxmlformats-officedocument.presentationml.tags+xml"/>
  <Override PartName="/ppt/notesSlides/notesSlide24.xml" ContentType="application/vnd.openxmlformats-officedocument.presentationml.notesSlide+xml"/>
  <Override PartName="/ppt/tags/tag39.xml" ContentType="application/vnd.openxmlformats-officedocument.presentationml.tags+xml"/>
  <Override PartName="/ppt/notesSlides/notesSlide25.xml" ContentType="application/vnd.openxmlformats-officedocument.presentationml.notesSlide+xml"/>
  <Override PartName="/ppt/tags/tag40.xml" ContentType="application/vnd.openxmlformats-officedocument.presentationml.tags+xml"/>
  <Override PartName="/ppt/notesSlides/notesSlide26.xml" ContentType="application/vnd.openxmlformats-officedocument.presentationml.notesSlide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ppt/tags/tag42.xml" ContentType="application/vnd.openxmlformats-officedocument.presentationml.tags+xml"/>
  <Override PartName="/ppt/notesSlides/notesSlide28.xml" ContentType="application/vnd.openxmlformats-officedocument.presentationml.notesSlide+xml"/>
  <Override PartName="/ppt/tags/tag43.xml" ContentType="application/vnd.openxmlformats-officedocument.presentationml.tags+xml"/>
  <Override PartName="/ppt/notesSlides/notesSlide29.xml" ContentType="application/vnd.openxmlformats-officedocument.presentationml.notesSlide+xml"/>
  <Override PartName="/ppt/tags/tag44.xml" ContentType="application/vnd.openxmlformats-officedocument.presentationml.tags+xml"/>
  <Override PartName="/ppt/notesSlides/notesSlide30.xml" ContentType="application/vnd.openxmlformats-officedocument.presentationml.notesSlide+xml"/>
  <Override PartName="/ppt/tags/tag45.xml" ContentType="application/vnd.openxmlformats-officedocument.presentationml.tags+xml"/>
  <Override PartName="/ppt/notesSlides/notesSlide31.xml" ContentType="application/vnd.openxmlformats-officedocument.presentationml.notesSlide+xml"/>
  <Override PartName="/ppt/tags/tag46.xml" ContentType="application/vnd.openxmlformats-officedocument.presentationml.tags+xml"/>
  <Override PartName="/ppt/notesSlides/notesSlide32.xml" ContentType="application/vnd.openxmlformats-officedocument.presentationml.notesSlide+xml"/>
  <Override PartName="/ppt/tags/tag47.xml" ContentType="application/vnd.openxmlformats-officedocument.presentationml.tags+xml"/>
  <Override PartName="/ppt/notesSlides/notesSlide33.xml" ContentType="application/vnd.openxmlformats-officedocument.presentationml.notesSlide+xml"/>
  <Override PartName="/ppt/tags/tag48.xml" ContentType="application/vnd.openxmlformats-officedocument.presentationml.tags+xml"/>
  <Override PartName="/ppt/notesSlides/notesSlide34.xml" ContentType="application/vnd.openxmlformats-officedocument.presentationml.notesSlide+xml"/>
  <Override PartName="/ppt/tags/tag49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40"/>
  </p:notesMasterIdLst>
  <p:handoutMasterIdLst>
    <p:handoutMasterId r:id="rId41"/>
  </p:handoutMasterIdLst>
  <p:sldIdLst>
    <p:sldId id="470" r:id="rId5"/>
    <p:sldId id="448" r:id="rId6"/>
    <p:sldId id="457" r:id="rId7"/>
    <p:sldId id="496" r:id="rId8"/>
    <p:sldId id="480" r:id="rId9"/>
    <p:sldId id="497" r:id="rId10"/>
    <p:sldId id="498" r:id="rId11"/>
    <p:sldId id="499" r:id="rId12"/>
    <p:sldId id="500" r:id="rId13"/>
    <p:sldId id="501" r:id="rId14"/>
    <p:sldId id="502" r:id="rId15"/>
    <p:sldId id="503" r:id="rId16"/>
    <p:sldId id="476" r:id="rId17"/>
    <p:sldId id="506" r:id="rId18"/>
    <p:sldId id="504" r:id="rId19"/>
    <p:sldId id="507" r:id="rId20"/>
    <p:sldId id="508" r:id="rId21"/>
    <p:sldId id="509" r:id="rId22"/>
    <p:sldId id="510" r:id="rId23"/>
    <p:sldId id="511" r:id="rId24"/>
    <p:sldId id="512" r:id="rId25"/>
    <p:sldId id="513" r:id="rId26"/>
    <p:sldId id="514" r:id="rId27"/>
    <p:sldId id="515" r:id="rId28"/>
    <p:sldId id="516" r:id="rId29"/>
    <p:sldId id="517" r:id="rId30"/>
    <p:sldId id="518" r:id="rId31"/>
    <p:sldId id="521" r:id="rId32"/>
    <p:sldId id="475" r:id="rId33"/>
    <p:sldId id="505" r:id="rId34"/>
    <p:sldId id="519" r:id="rId35"/>
    <p:sldId id="520" r:id="rId36"/>
    <p:sldId id="477" r:id="rId37"/>
    <p:sldId id="522" r:id="rId38"/>
    <p:sldId id="444" r:id="rId39"/>
  </p:sldIdLst>
  <p:sldSz cx="8961438" cy="6721475"/>
  <p:notesSz cx="6743700" cy="990600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B076"/>
    <a:srgbClr val="FFFFFF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73" d="100"/>
          <a:sy n="73" d="100"/>
        </p:scale>
        <p:origin x="-96" y="-95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333070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43348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789148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64092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047409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2719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762542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78333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649589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09976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7140416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5429898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0776357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41311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5466910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52340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577677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454650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933660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6479666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63941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142944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565374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4318780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42073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7354971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6418859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941530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57720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5909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96456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41560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59257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4904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ofactory.com/javascript/design-patterns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addyosmani.com/resources/essentialjsdesignpatterns/book" TargetMode="External"/><Relationship Id="rId12" Type="http://schemas.openxmlformats.org/officeDocument/2006/relationships/image" Target="../media/image5.png"/><Relationship Id="rId2" Type="http://schemas.openxmlformats.org/officeDocument/2006/relationships/tags" Target="../tags/tag49.xml"/><Relationship Id="rId1" Type="http://schemas.openxmlformats.org/officeDocument/2006/relationships/vmlDrawing" Target="../drawings/vmlDrawing36.vml"/><Relationship Id="rId6" Type="http://schemas.openxmlformats.org/officeDocument/2006/relationships/hyperlink" Target="http://addyosmani.com/blog" TargetMode="External"/><Relationship Id="rId11" Type="http://schemas.openxmlformats.org/officeDocument/2006/relationships/hyperlink" Target="http://blog.mgechev.com/2014/05/08/angularjs-in-patterns-part-1-overview-of-angularjs/" TargetMode="External"/><Relationship Id="rId5" Type="http://schemas.openxmlformats.org/officeDocument/2006/relationships/oleObject" Target="../embeddings/oleObject37.bin"/><Relationship Id="rId10" Type="http://schemas.openxmlformats.org/officeDocument/2006/relationships/hyperlink" Target="https://egghead.io/lessons/angularjs-design-patterns-mixin" TargetMode="External"/><Relationship Id="rId4" Type="http://schemas.openxmlformats.org/officeDocument/2006/relationships/notesSlide" Target="../notesSlides/notesSlide35.xml"/><Relationship Id="rId9" Type="http://schemas.openxmlformats.org/officeDocument/2006/relationships/hyperlink" Target="http://trochette.github.io/Angular-Design-Patterns-Best-Practices/#/intro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4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1AB076"/>
                </a:solidFill>
                <a:latin typeface="Open Sans"/>
              </a:rPr>
              <a:t>OO 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- Couplin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9455" y="2912540"/>
            <a:ext cx="4294378" cy="33239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Tightly coupled to – data model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b</a:t>
            </a:r>
            <a:r>
              <a:rPr lang="en-US" sz="1400" dirty="0">
                <a:solidFill>
                  <a:schemeClr val="bg1"/>
                </a:solidFill>
              </a:rPr>
              <a:t>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SaveOriginalEmployee</a:t>
            </a:r>
            <a:r>
              <a:rPr lang="en-US" sz="1400" dirty="0">
                <a:solidFill>
                  <a:schemeClr val="bg1"/>
                </a:solidFill>
              </a:rPr>
              <a:t>(employee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GetEmployeeBySalary</a:t>
            </a:r>
            <a:r>
              <a:rPr lang="en-US" sz="1400" dirty="0">
                <a:solidFill>
                  <a:schemeClr val="bg1"/>
                </a:solidFill>
              </a:rPr>
              <a:t>(salary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GetEmployeesInCanada</a:t>
            </a:r>
            <a:r>
              <a:rPr lang="en-US" sz="1400" dirty="0">
                <a:solidFill>
                  <a:schemeClr val="bg1"/>
                </a:solidFill>
              </a:rPr>
              <a:t>(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UpdateEmployeeWithSalaryIncrease</a:t>
            </a:r>
            <a:r>
              <a:rPr lang="en-US" sz="1400" dirty="0">
                <a:solidFill>
                  <a:schemeClr val="bg1"/>
                </a:solidFill>
              </a:rPr>
              <a:t>(increase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UpdateUserByName</a:t>
            </a:r>
            <a:r>
              <a:rPr lang="en-US" sz="1400" dirty="0">
                <a:solidFill>
                  <a:schemeClr val="bg1"/>
                </a:solidFill>
              </a:rPr>
              <a:t>(first, last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DeleteUserById</a:t>
            </a:r>
            <a:r>
              <a:rPr lang="en-US" sz="1400" dirty="0">
                <a:solidFill>
                  <a:schemeClr val="bg1"/>
                </a:solidFill>
              </a:rPr>
              <a:t>(id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SelectRecentCustomers</a:t>
            </a:r>
            <a:r>
              <a:rPr lang="en-US" sz="1400" dirty="0">
                <a:solidFill>
                  <a:schemeClr val="bg1"/>
                </a:solidFill>
              </a:rPr>
              <a:t>(time) {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// ...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42943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osely coupled compon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nimal change when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ps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ange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906698"/>
            <a:ext cx="4250691" cy="329320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Loosely Coupled</a:t>
            </a:r>
          </a:p>
          <a:p>
            <a:endParaRPr lang="en-US" sz="1300" dirty="0" smtClean="0">
              <a:solidFill>
                <a:srgbClr val="1AB076"/>
              </a:solidFill>
            </a:endParaRP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db</a:t>
            </a:r>
            <a:r>
              <a:rPr lang="en-US" sz="1300" dirty="0">
                <a:solidFill>
                  <a:srgbClr val="1AB076"/>
                </a:solidFill>
              </a:rPr>
              <a:t> = function (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Select(criteria) {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Save(object) {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Update(object) {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Delete(object) {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// ...</a:t>
            </a:r>
          </a:p>
          <a:p>
            <a:r>
              <a:rPr lang="en-US" sz="1300" dirty="0" smtClean="0">
                <a:solidFill>
                  <a:srgbClr val="1AB076"/>
                </a:solidFill>
              </a:rPr>
              <a:t>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endParaRPr lang="en-US" sz="1300" dirty="0" smtClean="0">
              <a:solidFill>
                <a:srgbClr val="1AB076"/>
              </a:solidFill>
            </a:endParaRPr>
          </a:p>
          <a:p>
            <a:endParaRPr lang="en-US" sz="1300" dirty="0">
              <a:solidFill>
                <a:srgbClr val="1AB076"/>
              </a:solidFill>
            </a:endParaRPr>
          </a:p>
          <a:p>
            <a:endParaRPr lang="en-US" sz="1300" dirty="0" smtClean="0">
              <a:solidFill>
                <a:srgbClr val="1AB076"/>
              </a:solidFill>
            </a:endParaRPr>
          </a:p>
          <a:p>
            <a:endParaRPr lang="en-US" sz="13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93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Solid Principl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845489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gle Responsibility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reason to exi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n Close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ould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 open for extension, but closed for modific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</a:t>
            </a: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skov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ubstitutio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ould be substitutable for their base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 (maintain original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)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terface Segregatio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ke fine-grained interfaces that are client specifi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pendency Inversio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should depend on abstractions, not concretions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2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DRY Princip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8454898" cy="463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n’t Repeat Yourself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8750" y="2908615"/>
            <a:ext cx="84548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Unobtrusive </a:t>
            </a:r>
            <a:r>
              <a:rPr lang="en-US" sz="2800" dirty="0" err="1" smtClean="0">
                <a:solidFill>
                  <a:srgbClr val="1AB076"/>
                </a:solidFill>
                <a:latin typeface="Open Sans"/>
              </a:rPr>
              <a:t>Javascript</a:t>
            </a:r>
            <a:endParaRPr lang="en-US" sz="2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8750" y="3647279"/>
            <a:ext cx="389204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crease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usabil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sier to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intai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am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velop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tter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rforman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roved accessibility</a:t>
            </a:r>
          </a:p>
        </p:txBody>
      </p:sp>
      <p:pic>
        <p:nvPicPr>
          <p:cNvPr id="117762" name="Picture 2" descr="C:\Users\Microsoft\Downloads\JavaScriptjQueryPatternFramework_2013_1User\img\diagrams\javascript-unobtrusiv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1311" y="4132498"/>
            <a:ext cx="3590925" cy="1314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092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2</a:t>
            </a: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endParaRPr lang="en-US" sz="2400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Modern Design Patter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05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6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522333"/>
            <a:ext cx="8573770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Why Modern Pattern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84548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cently developed patterns for modern web/app development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 are generic and some JavaScript specific</a:t>
            </a: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758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9455" y="3744644"/>
            <a:ext cx="4294378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Anonymous function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Person = function (name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this.name = name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ay</a:t>
            </a:r>
            <a:r>
              <a:rPr lang="en-US" sz="1400" dirty="0">
                <a:solidFill>
                  <a:schemeClr val="bg1"/>
                </a:solidFill>
              </a:rPr>
              <a:t> = function () { alert(this.name); }; 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nthony</a:t>
            </a:r>
            <a:r>
              <a:rPr lang="en-US" sz="1400" dirty="0">
                <a:solidFill>
                  <a:schemeClr val="bg1"/>
                </a:solidFill>
              </a:rPr>
              <a:t> = new Person("Anthony Miller"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eleste = new Person("Celeste Diaz"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anthony.say</a:t>
            </a:r>
            <a:r>
              <a:rPr lang="en-US" sz="1400" dirty="0">
                <a:solidFill>
                  <a:schemeClr val="bg1"/>
                </a:solidFill>
              </a:rPr>
              <a:t>();               // =&gt; Anthony Miller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eleste.say</a:t>
            </a:r>
            <a:r>
              <a:rPr lang="en-US" sz="1400" dirty="0">
                <a:solidFill>
                  <a:schemeClr val="bg1"/>
                </a:solidFill>
              </a:rPr>
              <a:t>();               // =&gt; Celeste </a:t>
            </a:r>
            <a:r>
              <a:rPr lang="en-US" sz="1400" dirty="0" smtClean="0">
                <a:solidFill>
                  <a:schemeClr val="bg1"/>
                </a:solidFill>
              </a:rPr>
              <a:t>Diaz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onstructo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ing new Object instanc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 does not have Class, but does have “new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w Object() (rarely used) ,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{},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erson = new Person(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vention: Uppercase constructor function, others lowercas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ant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if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forget “new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…                        </a:t>
            </a:r>
            <a:r>
              <a:rPr lang="en-US" sz="18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ip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(ES5 strict, this is local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 NOT bound to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rrent object but to the global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 (window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3738802"/>
            <a:ext cx="4250691" cy="249299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Named function (better debugging)</a:t>
            </a:r>
          </a:p>
          <a:p>
            <a:r>
              <a:rPr lang="en-US" sz="1300" dirty="0" smtClean="0">
                <a:solidFill>
                  <a:srgbClr val="1AB076"/>
                </a:solidFill>
              </a:rPr>
              <a:t>// Trick if we forget “new”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smtClean="0">
                <a:solidFill>
                  <a:srgbClr val="1AB076"/>
                </a:solidFill>
              </a:rPr>
              <a:t>function Person </a:t>
            </a:r>
            <a:r>
              <a:rPr lang="en-US" sz="1300" dirty="0">
                <a:solidFill>
                  <a:srgbClr val="1AB076"/>
                </a:solidFill>
              </a:rPr>
              <a:t>(name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if (!(this </a:t>
            </a:r>
            <a:r>
              <a:rPr lang="en-US" sz="1300" dirty="0" err="1">
                <a:solidFill>
                  <a:srgbClr val="1AB076"/>
                </a:solidFill>
              </a:rPr>
              <a:t>instanceof</a:t>
            </a:r>
            <a:r>
              <a:rPr lang="en-US" sz="1300" dirty="0">
                <a:solidFill>
                  <a:srgbClr val="1AB076"/>
                </a:solidFill>
              </a:rPr>
              <a:t> Person)) {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return new Person(name);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}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this.name = nam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ay</a:t>
            </a:r>
            <a:r>
              <a:rPr lang="en-US" sz="1300" dirty="0">
                <a:solidFill>
                  <a:srgbClr val="1AB076"/>
                </a:solidFill>
              </a:rPr>
              <a:t> = function () {alert(this.name);};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</a:t>
            </a:r>
          </a:p>
          <a:p>
            <a:r>
              <a:rPr lang="en-US" sz="1300" dirty="0" smtClean="0">
                <a:solidFill>
                  <a:srgbClr val="1AB076"/>
                </a:solidFill>
              </a:rPr>
              <a:t>…</a:t>
            </a:r>
            <a:endParaRPr lang="en-US" sz="13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14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3119106"/>
            <a:ext cx="4294378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Creating namespace – old way.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yFramework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MyFramework</a:t>
            </a:r>
            <a:r>
              <a:rPr lang="en-US" sz="1400" dirty="0">
                <a:solidFill>
                  <a:schemeClr val="bg1"/>
                </a:solidFill>
              </a:rPr>
              <a:t> || {}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yFramework.Utils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MyFramework.Utils</a:t>
            </a:r>
            <a:r>
              <a:rPr lang="en-US" sz="1400" dirty="0">
                <a:solidFill>
                  <a:schemeClr val="bg1"/>
                </a:solidFill>
              </a:rPr>
              <a:t> || </a:t>
            </a:r>
            <a:r>
              <a:rPr lang="en-US" sz="1400" dirty="0" smtClean="0">
                <a:solidFill>
                  <a:schemeClr val="bg1"/>
                </a:solidFill>
              </a:rPr>
              <a:t>{}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…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amespace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 #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ing structure to avoid name collision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= … -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aces in the global context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3117010"/>
            <a:ext cx="4250691" cy="30931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Namespace Pattern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MyFramework</a:t>
            </a:r>
            <a:r>
              <a:rPr lang="en-US" sz="1300" dirty="0">
                <a:solidFill>
                  <a:srgbClr val="1AB076"/>
                </a:solidFill>
              </a:rPr>
              <a:t> =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namespace: function (name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parts = </a:t>
            </a:r>
            <a:r>
              <a:rPr lang="en-US" sz="1300" dirty="0" err="1">
                <a:solidFill>
                  <a:srgbClr val="1AB076"/>
                </a:solidFill>
              </a:rPr>
              <a:t>name.split</a:t>
            </a:r>
            <a:r>
              <a:rPr lang="en-US" sz="1300" dirty="0">
                <a:solidFill>
                  <a:srgbClr val="1AB076"/>
                </a:solidFill>
              </a:rPr>
              <a:t>(".")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ns = this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    for (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 = 0, </a:t>
            </a:r>
            <a:r>
              <a:rPr lang="en-US" sz="1300" dirty="0" err="1">
                <a:solidFill>
                  <a:srgbClr val="1AB076"/>
                </a:solidFill>
              </a:rPr>
              <a:t>len</a:t>
            </a:r>
            <a:r>
              <a:rPr lang="en-US" sz="1300" dirty="0">
                <a:solidFill>
                  <a:srgbClr val="1AB076"/>
                </a:solidFill>
              </a:rPr>
              <a:t> = </a:t>
            </a:r>
            <a:r>
              <a:rPr lang="en-US" sz="1300" dirty="0" err="1">
                <a:solidFill>
                  <a:srgbClr val="1AB076"/>
                </a:solidFill>
              </a:rPr>
              <a:t>parts.length</a:t>
            </a:r>
            <a:r>
              <a:rPr lang="en-US" sz="1300" dirty="0">
                <a:solidFill>
                  <a:srgbClr val="1AB076"/>
                </a:solidFill>
              </a:rPr>
              <a:t>; 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 &lt; </a:t>
            </a:r>
            <a:r>
              <a:rPr lang="en-US" sz="1300" dirty="0" err="1">
                <a:solidFill>
                  <a:srgbClr val="1AB076"/>
                </a:solidFill>
              </a:rPr>
              <a:t>len</a:t>
            </a:r>
            <a:r>
              <a:rPr lang="en-US" sz="1300" dirty="0">
                <a:solidFill>
                  <a:srgbClr val="1AB076"/>
                </a:solidFill>
              </a:rPr>
              <a:t>; 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++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    ns[parts[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]] = ns[parts[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]] || {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    ns = ns[parts[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]]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}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    return ns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27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3119106"/>
            <a:ext cx="4294378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Nice but STILL on global object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om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MyFramework.namespace</a:t>
            </a:r>
            <a:r>
              <a:rPr lang="en-US" sz="1400" dirty="0">
                <a:solidFill>
                  <a:schemeClr val="bg1"/>
                </a:solidFill>
              </a:rPr>
              <a:t>("</a:t>
            </a:r>
            <a:r>
              <a:rPr lang="en-US" sz="1400" dirty="0" err="1">
                <a:solidFill>
                  <a:schemeClr val="bg1"/>
                </a:solidFill>
              </a:rPr>
              <a:t>Utils.Dom</a:t>
            </a:r>
            <a:r>
              <a:rPr lang="en-US" sz="1400" dirty="0">
                <a:solidFill>
                  <a:schemeClr val="bg1"/>
                </a:solidFill>
              </a:rPr>
              <a:t>"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dom.getFonts</a:t>
            </a:r>
            <a:r>
              <a:rPr lang="en-US" sz="1400" dirty="0">
                <a:solidFill>
                  <a:schemeClr val="bg1"/>
                </a:solidFill>
              </a:rPr>
              <a:t> = function () { /* ... */ }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dom.count</a:t>
            </a:r>
            <a:r>
              <a:rPr lang="en-US" sz="1400" dirty="0">
                <a:solidFill>
                  <a:schemeClr val="bg1"/>
                </a:solidFill>
              </a:rPr>
              <a:t> = 0;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dom</a:t>
            </a:r>
            <a:r>
              <a:rPr lang="en-US" sz="1400" dirty="0">
                <a:solidFill>
                  <a:schemeClr val="bg1"/>
                </a:solidFill>
              </a:rPr>
              <a:t> === </a:t>
            </a:r>
            <a:r>
              <a:rPr lang="en-US" sz="1400" dirty="0" err="1">
                <a:solidFill>
                  <a:schemeClr val="bg1"/>
                </a:solidFill>
              </a:rPr>
              <a:t>MyFramework.Utils.Dom</a:t>
            </a:r>
            <a:r>
              <a:rPr lang="en-US" sz="1400" dirty="0">
                <a:solidFill>
                  <a:schemeClr val="bg1"/>
                </a:solidFill>
              </a:rPr>
              <a:t>); </a:t>
            </a:r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</a:rPr>
              <a:t>=&gt; </a:t>
            </a:r>
            <a:r>
              <a:rPr lang="en-US" sz="1400" dirty="0" smtClean="0">
                <a:solidFill>
                  <a:schemeClr val="bg1"/>
                </a:solidFill>
              </a:rPr>
              <a:t>true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amespace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 #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atch out for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global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 closure function to instantiate namespace on framework objec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3117010"/>
            <a:ext cx="4250691" cy="30931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Closure, encapsulated function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MyFramework.namespace</a:t>
            </a:r>
            <a:r>
              <a:rPr lang="en-US" sz="1300" dirty="0">
                <a:solidFill>
                  <a:srgbClr val="1AB076"/>
                </a:solidFill>
              </a:rPr>
              <a:t>("</a:t>
            </a:r>
            <a:r>
              <a:rPr lang="en-US" sz="1300" dirty="0" err="1">
                <a:solidFill>
                  <a:srgbClr val="1AB076"/>
                </a:solidFill>
              </a:rPr>
              <a:t>Utils</a:t>
            </a:r>
            <a:r>
              <a:rPr lang="en-US" sz="1300" dirty="0">
                <a:solidFill>
                  <a:srgbClr val="1AB076"/>
                </a:solidFill>
              </a:rPr>
              <a:t>").Dom = (function () {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count = 0;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privateVariable</a:t>
            </a:r>
            <a:r>
              <a:rPr lang="en-US" sz="1300" dirty="0">
                <a:solidFill>
                  <a:srgbClr val="1AB076"/>
                </a:solidFill>
              </a:rPr>
              <a:t> = 10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getFonts</a:t>
            </a:r>
            <a:r>
              <a:rPr lang="en-US" sz="1300" dirty="0">
                <a:solidFill>
                  <a:srgbClr val="1AB076"/>
                </a:solidFill>
              </a:rPr>
              <a:t> = function () { /* ... */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return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</a:t>
            </a:r>
            <a:r>
              <a:rPr lang="en-US" sz="1300" dirty="0" err="1">
                <a:solidFill>
                  <a:srgbClr val="1AB076"/>
                </a:solidFill>
              </a:rPr>
              <a:t>getFonts</a:t>
            </a:r>
            <a:r>
              <a:rPr lang="en-US" sz="1300" dirty="0">
                <a:solidFill>
                  <a:srgbClr val="1AB076"/>
                </a:solidFill>
              </a:rPr>
              <a:t>: </a:t>
            </a:r>
            <a:r>
              <a:rPr lang="en-US" sz="1300" dirty="0" err="1">
                <a:solidFill>
                  <a:srgbClr val="1AB076"/>
                </a:solidFill>
              </a:rPr>
              <a:t>getFonts</a:t>
            </a:r>
            <a:r>
              <a:rPr lang="en-US" sz="1300" dirty="0">
                <a:solidFill>
                  <a:srgbClr val="1AB076"/>
                </a:solidFill>
              </a:rPr>
              <a:t>,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count: count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smtClean="0">
                <a:solidFill>
                  <a:srgbClr val="1AB076"/>
                </a:solidFill>
              </a:rPr>
              <a:t>})();</a:t>
            </a:r>
          </a:p>
          <a:p>
            <a:endParaRPr lang="en-US" sz="13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188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Module pattern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module = (function ()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// private area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ount = 0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increment = function () { count++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decrement = function () { count--;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return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    // public area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addOne</a:t>
            </a:r>
            <a:r>
              <a:rPr lang="en-US" sz="1400" dirty="0">
                <a:solidFill>
                  <a:schemeClr val="bg1"/>
                </a:solidFill>
              </a:rPr>
              <a:t>: function () { increment()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subtractOne</a:t>
            </a:r>
            <a:r>
              <a:rPr lang="en-US" sz="1400" dirty="0">
                <a:solidFill>
                  <a:schemeClr val="bg1"/>
                </a:solidFill>
              </a:rPr>
              <a:t>: function () { decrement()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getCount</a:t>
            </a:r>
            <a:r>
              <a:rPr lang="en-US" sz="1400" dirty="0">
                <a:solidFill>
                  <a:schemeClr val="bg1"/>
                </a:solidFill>
              </a:rPr>
              <a:t>: function () { return count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)();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 #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ganize your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lications in modules or functional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ea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vealing pattern makes your public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i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ear and reduced code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249299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Revealing Module pattern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module = (function () {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count = 0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increment = function () { count++;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decrement = function () { count--;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return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increment: increment,       // same names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decrement: decrement   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)();</a:t>
            </a:r>
            <a:endParaRPr lang="en-US" sz="1300" dirty="0" smtClean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890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Import libraries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module = (function (win, $, undefined)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doc = </a:t>
            </a:r>
            <a:r>
              <a:rPr lang="en-US" sz="1400" dirty="0" err="1">
                <a:solidFill>
                  <a:schemeClr val="bg1"/>
                </a:solidFill>
              </a:rPr>
              <a:t>win.document</a:t>
            </a:r>
            <a:r>
              <a:rPr lang="en-US" sz="1400" dirty="0">
                <a:solidFill>
                  <a:schemeClr val="bg1"/>
                </a:solidFill>
              </a:rPr>
              <a:t>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nav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win.navigation</a:t>
            </a:r>
            <a:r>
              <a:rPr lang="en-US" sz="1400" dirty="0">
                <a:solidFill>
                  <a:schemeClr val="bg1"/>
                </a:solidFill>
              </a:rPr>
              <a:t>;   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return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})(window, jQuery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// use local win </a:t>
            </a:r>
            <a:r>
              <a:rPr lang="en-US" sz="1400" dirty="0" err="1" smtClean="0">
                <a:solidFill>
                  <a:schemeClr val="bg1"/>
                </a:solidFill>
              </a:rPr>
              <a:t>vars</a:t>
            </a:r>
            <a:r>
              <a:rPr lang="en-US" sz="1400" dirty="0" smtClean="0">
                <a:solidFill>
                  <a:schemeClr val="bg1"/>
                </a:solidFill>
              </a:rPr>
              <a:t> – better performance.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// $ will be jQuery, even if another library uses it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// Who can guess why undefined is imported?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 #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properly use “Global” or other librar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into your context and use: better performance, less clashes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Revealing Module pattern</a:t>
            </a: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module = (function ()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count = 0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increment = function () { count++;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decrement = function () { count--; 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return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increment: increment,       // same names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decrement: decrement    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)(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1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Design Patter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7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module imports itself and extends.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module = (function (self)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top = 10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self.multiply</a:t>
            </a:r>
            <a:r>
              <a:rPr lang="en-US" sz="1400" dirty="0">
                <a:solidFill>
                  <a:schemeClr val="bg1"/>
                </a:solidFill>
              </a:rPr>
              <a:t> = function (</a:t>
            </a:r>
            <a:r>
              <a:rPr lang="en-US" sz="1400" dirty="0" err="1">
                <a:solidFill>
                  <a:schemeClr val="bg1"/>
                </a:solidFill>
              </a:rPr>
              <a:t>x,y</a:t>
            </a:r>
            <a:r>
              <a:rPr lang="en-US" sz="1400" dirty="0">
                <a:solidFill>
                  <a:schemeClr val="bg1"/>
                </a:solidFill>
              </a:rPr>
              <a:t>) { return x * y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self.divide</a:t>
            </a:r>
            <a:r>
              <a:rPr lang="en-US" sz="1400" dirty="0">
                <a:solidFill>
                  <a:schemeClr val="bg1"/>
                </a:solidFill>
              </a:rPr>
              <a:t> = function (</a:t>
            </a:r>
            <a:r>
              <a:rPr lang="en-US" sz="1400" dirty="0" err="1">
                <a:solidFill>
                  <a:schemeClr val="bg1"/>
                </a:solidFill>
              </a:rPr>
              <a:t>x,y</a:t>
            </a:r>
            <a:r>
              <a:rPr lang="en-US" sz="1400" dirty="0">
                <a:solidFill>
                  <a:schemeClr val="bg1"/>
                </a:solidFill>
              </a:rPr>
              <a:t>) { return x / y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self.getTop</a:t>
            </a:r>
            <a:r>
              <a:rPr lang="en-US" sz="1400" dirty="0">
                <a:solidFill>
                  <a:schemeClr val="bg1"/>
                </a:solidFill>
              </a:rPr>
              <a:t> = function () { return top;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return self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})(module || </a:t>
            </a:r>
            <a:r>
              <a:rPr lang="en-US" sz="1400" dirty="0" smtClean="0">
                <a:solidFill>
                  <a:schemeClr val="bg1"/>
                </a:solidFill>
              </a:rPr>
              <a:t>{}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 #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tial modules – splitting a module across fil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do this without worrying about file loading order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Namespace and Module patterns “chained”</a:t>
            </a: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MyApplication.namespace</a:t>
            </a:r>
            <a:r>
              <a:rPr lang="en-US" sz="1400" dirty="0">
                <a:solidFill>
                  <a:srgbClr val="1AB076"/>
                </a:solidFill>
              </a:rPr>
              <a:t>("</a:t>
            </a:r>
            <a:r>
              <a:rPr lang="en-US" sz="1400" dirty="0" err="1">
                <a:solidFill>
                  <a:srgbClr val="1AB076"/>
                </a:solidFill>
              </a:rPr>
              <a:t>Util.Events</a:t>
            </a:r>
            <a:r>
              <a:rPr lang="en-US" sz="1400" dirty="0">
                <a:solidFill>
                  <a:srgbClr val="1AB076"/>
                </a:solidFill>
              </a:rPr>
              <a:t>").module = (function ()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// private area ..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return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    // public area ..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)();</a:t>
            </a: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// module is Singleton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// used by many frameworks</a:t>
            </a: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874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Object that return “this” for chaining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function Calculator(start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total = start || 0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add</a:t>
            </a:r>
            <a:r>
              <a:rPr lang="en-US" sz="1400" dirty="0">
                <a:solidFill>
                  <a:schemeClr val="bg1"/>
                </a:solidFill>
              </a:rPr>
              <a:t> = function (x) { total +=x; return this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ub</a:t>
            </a:r>
            <a:r>
              <a:rPr lang="en-US" sz="1400" dirty="0">
                <a:solidFill>
                  <a:schemeClr val="bg1"/>
                </a:solidFill>
              </a:rPr>
              <a:t> = function (x) { total -=x; return this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mul</a:t>
            </a:r>
            <a:r>
              <a:rPr lang="en-US" sz="1400" dirty="0">
                <a:solidFill>
                  <a:schemeClr val="bg1"/>
                </a:solidFill>
              </a:rPr>
              <a:t> = function (x) { total *=x; return this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div</a:t>
            </a:r>
            <a:r>
              <a:rPr lang="en-US" sz="1400" dirty="0">
                <a:solidFill>
                  <a:schemeClr val="bg1"/>
                </a:solidFill>
              </a:rPr>
              <a:t> = function (x) { total /=x; return this;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get</a:t>
            </a:r>
            <a:r>
              <a:rPr lang="en-US" sz="1400" dirty="0">
                <a:solidFill>
                  <a:schemeClr val="bg1"/>
                </a:solidFill>
              </a:rPr>
              <a:t> = function () { return total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// usage: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new Calculator(10).add(8).div(2).</a:t>
            </a:r>
            <a:r>
              <a:rPr lang="en-US" sz="1400" dirty="0" err="1">
                <a:solidFill>
                  <a:schemeClr val="bg1"/>
                </a:solidFill>
              </a:rPr>
              <a:t>mul</a:t>
            </a:r>
            <a:r>
              <a:rPr lang="en-US" sz="1400" dirty="0">
                <a:solidFill>
                  <a:schemeClr val="bg1"/>
                </a:solidFill>
              </a:rPr>
              <a:t>(4).sub(30).add(100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haining / Fluent API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ing multiple methods on a single object by stringing them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geth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object.method1("arg1").method2("arg2").method3("arg3");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224676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Tips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If your object returns nothing, return this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Chaining is powerful, but makes debugging harder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Chaining can help performance (jQuery selector)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502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3042678"/>
            <a:ext cx="4294378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this is indeed bound to the global </a:t>
            </a:r>
            <a:r>
              <a:rPr lang="en-US" sz="1400" dirty="0" smtClean="0">
                <a:solidFill>
                  <a:schemeClr val="bg1"/>
                </a:solidFill>
              </a:rPr>
              <a:t>object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function show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alert(this === window);    // =&gt; true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alert(this)                // =&gt; [object Window]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show</a:t>
            </a:r>
            <a:r>
              <a:rPr lang="en-US" sz="1400" dirty="0" smtClean="0">
                <a:solidFill>
                  <a:schemeClr val="bg1"/>
                </a:solidFill>
              </a:rPr>
              <a:t>();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unction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 function in JavaScript comes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th: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guments an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 = where am I, that is, which object instance am I part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ff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standalone function that is not part of an object is called a </a:t>
            </a:r>
            <a:r>
              <a:rPr lang="en-US" sz="18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79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3042678"/>
            <a:ext cx="4294378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Method invocation pattern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total: 0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add: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+= x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sub: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-= x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show: function () { alert("total = " +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)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add</a:t>
            </a:r>
            <a:r>
              <a:rPr lang="en-US" sz="1400" dirty="0">
                <a:solidFill>
                  <a:schemeClr val="bg1"/>
                </a:solidFill>
              </a:rPr>
              <a:t>(10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10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sub</a:t>
            </a:r>
            <a:r>
              <a:rPr lang="en-US" sz="1400" dirty="0">
                <a:solidFill>
                  <a:schemeClr val="bg1"/>
                </a:solidFill>
              </a:rPr>
              <a:t>(6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4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ethod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</a:t>
            </a:r>
            <a:r>
              <a:rPr lang="en-US" sz="18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ethod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 function member of a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value is bound to the object instance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73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2655027"/>
            <a:ext cx="4294378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Constructor invocation pattern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= 0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add</a:t>
            </a:r>
            <a:r>
              <a:rPr lang="en-US" sz="1400" dirty="0">
                <a:solidFill>
                  <a:schemeClr val="bg1"/>
                </a:solidFill>
              </a:rPr>
              <a:t>  =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+= x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ub</a:t>
            </a:r>
            <a:r>
              <a:rPr lang="en-US" sz="1400" dirty="0">
                <a:solidFill>
                  <a:schemeClr val="bg1"/>
                </a:solidFill>
              </a:rPr>
              <a:t> =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-= x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how</a:t>
            </a:r>
            <a:r>
              <a:rPr lang="en-US" sz="1400" dirty="0">
                <a:solidFill>
                  <a:schemeClr val="bg1"/>
                </a:solidFill>
              </a:rPr>
              <a:t> = function () { alert("total = " +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)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new Calculator(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add</a:t>
            </a:r>
            <a:r>
              <a:rPr lang="en-US" sz="1400" dirty="0">
                <a:solidFill>
                  <a:schemeClr val="bg1"/>
                </a:solidFill>
              </a:rPr>
              <a:t>(10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10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sub</a:t>
            </a:r>
            <a:r>
              <a:rPr lang="en-US" sz="1400" dirty="0">
                <a:solidFill>
                  <a:schemeClr val="bg1"/>
                </a:solidFill>
              </a:rPr>
              <a:t>(6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4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onstructor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1294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w operator creates a new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variable will be bound to the newly create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655027"/>
            <a:ext cx="4250691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What happens / Flow?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1. </a:t>
            </a:r>
            <a:r>
              <a:rPr lang="en-US" sz="1400" dirty="0">
                <a:solidFill>
                  <a:srgbClr val="1AB076"/>
                </a:solidFill>
              </a:rPr>
              <a:t>a new object is created which is then bound to this. </a:t>
            </a:r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2. </a:t>
            </a:r>
            <a:r>
              <a:rPr lang="en-US" sz="1400" dirty="0">
                <a:solidFill>
                  <a:srgbClr val="1AB076"/>
                </a:solidFill>
              </a:rPr>
              <a:t>the function body executes and properties and methods are added to the object. </a:t>
            </a:r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3. </a:t>
            </a:r>
            <a:r>
              <a:rPr lang="en-US" sz="1400" dirty="0">
                <a:solidFill>
                  <a:srgbClr val="1AB076"/>
                </a:solidFill>
              </a:rPr>
              <a:t>the constructor function implicitly returns the newly created </a:t>
            </a:r>
            <a:r>
              <a:rPr lang="en-US" sz="1400" dirty="0" smtClean="0">
                <a:solidFill>
                  <a:srgbClr val="1AB076"/>
                </a:solidFill>
              </a:rPr>
              <a:t>object.</a:t>
            </a:r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00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3516801"/>
            <a:ext cx="4294378" cy="267765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Apply invocation pattern</a:t>
            </a:r>
          </a:p>
          <a:p>
            <a:r>
              <a:rPr lang="en-US" sz="1400" dirty="0">
                <a:solidFill>
                  <a:schemeClr val="bg1"/>
                </a:solidFill>
              </a:rPr>
              <a:t>function </a:t>
            </a:r>
            <a:r>
              <a:rPr lang="en-US" sz="1400" dirty="0" err="1">
                <a:solidFill>
                  <a:schemeClr val="bg1"/>
                </a:solidFill>
              </a:rPr>
              <a:t>giveName</a:t>
            </a:r>
            <a:r>
              <a:rPr lang="en-US" sz="1400" dirty="0">
                <a:solidFill>
                  <a:schemeClr val="bg1"/>
                </a:solidFill>
              </a:rPr>
              <a:t>(first, last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first</a:t>
            </a:r>
            <a:r>
              <a:rPr lang="en-US" sz="1400" dirty="0">
                <a:solidFill>
                  <a:schemeClr val="bg1"/>
                </a:solidFill>
              </a:rPr>
              <a:t> = firs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last</a:t>
            </a:r>
            <a:r>
              <a:rPr lang="en-US" sz="1400" dirty="0">
                <a:solidFill>
                  <a:schemeClr val="bg1"/>
                </a:solidFill>
              </a:rPr>
              <a:t> = las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person = {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giveName.apply</a:t>
            </a:r>
            <a:r>
              <a:rPr lang="en-US" sz="1400" dirty="0">
                <a:solidFill>
                  <a:schemeClr val="bg1"/>
                </a:solidFill>
              </a:rPr>
              <a:t>(person, ["Neil", "Anderson"]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person.first</a:t>
            </a:r>
            <a:r>
              <a:rPr lang="en-US" sz="1400" dirty="0">
                <a:solidFill>
                  <a:schemeClr val="bg1"/>
                </a:solidFill>
              </a:rPr>
              <a:t> + " " + </a:t>
            </a:r>
            <a:r>
              <a:rPr lang="en-US" sz="1400" dirty="0" err="1">
                <a:solidFill>
                  <a:schemeClr val="bg1"/>
                </a:solidFill>
              </a:rPr>
              <a:t>person.last</a:t>
            </a:r>
            <a:r>
              <a:rPr lang="en-US" sz="1400" dirty="0">
                <a:solidFill>
                  <a:schemeClr val="bg1"/>
                </a:solidFill>
              </a:rPr>
              <a:t>);   // =&gt; Neil </a:t>
            </a:r>
            <a:r>
              <a:rPr lang="en-US" sz="1400" dirty="0" smtClean="0">
                <a:solidFill>
                  <a:schemeClr val="bg1"/>
                </a:solidFill>
              </a:rPr>
              <a:t>Anderson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ly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 Application Invocation pattern offers the most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lexibil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wo arguments are needed: 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rst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 value for this, 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cond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array of arguments used to invoke the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3516801"/>
            <a:ext cx="4250691" cy="267765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Call invocation pattern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function </a:t>
            </a:r>
            <a:r>
              <a:rPr lang="en-US" sz="1400" dirty="0" err="1">
                <a:solidFill>
                  <a:srgbClr val="1AB076"/>
                </a:solidFill>
              </a:rPr>
              <a:t>giveName</a:t>
            </a:r>
            <a:r>
              <a:rPr lang="en-US" sz="1400" dirty="0">
                <a:solidFill>
                  <a:srgbClr val="1AB076"/>
                </a:solidFill>
              </a:rPr>
              <a:t>(first, last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first</a:t>
            </a:r>
            <a:r>
              <a:rPr lang="en-US" sz="1400" dirty="0">
                <a:solidFill>
                  <a:srgbClr val="1AB076"/>
                </a:solidFill>
              </a:rPr>
              <a:t> = first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last</a:t>
            </a:r>
            <a:r>
              <a:rPr lang="en-US" sz="1400" dirty="0">
                <a:solidFill>
                  <a:srgbClr val="1AB076"/>
                </a:solidFill>
              </a:rPr>
              <a:t> = last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person = {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giveName.call</a:t>
            </a:r>
            <a:r>
              <a:rPr lang="en-US" sz="1400" dirty="0">
                <a:solidFill>
                  <a:srgbClr val="1AB076"/>
                </a:solidFill>
              </a:rPr>
              <a:t>(person, "Neil", "Anderson"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person.first</a:t>
            </a:r>
            <a:r>
              <a:rPr lang="en-US" sz="1400" dirty="0">
                <a:solidFill>
                  <a:srgbClr val="1AB076"/>
                </a:solidFill>
              </a:rPr>
              <a:t> + " " + </a:t>
            </a:r>
            <a:r>
              <a:rPr lang="en-US" sz="1400" dirty="0" err="1">
                <a:solidFill>
                  <a:srgbClr val="1AB076"/>
                </a:solidFill>
              </a:rPr>
              <a:t>person.last</a:t>
            </a:r>
            <a:r>
              <a:rPr lang="en-US" sz="1400" dirty="0">
                <a:solidFill>
                  <a:srgbClr val="1AB076"/>
                </a:solidFill>
              </a:rPr>
              <a:t>);   // =&gt; Neil </a:t>
            </a:r>
            <a:r>
              <a:rPr lang="en-US" sz="1400" dirty="0" smtClean="0">
                <a:solidFill>
                  <a:srgbClr val="1AB076"/>
                </a:solidFill>
              </a:rPr>
              <a:t>Anderson</a:t>
            </a:r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701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2457575"/>
            <a:ext cx="4294378" cy="375487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Prototypal inheritance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function </a:t>
            </a:r>
            <a:r>
              <a:rPr lang="en-US" sz="1400" dirty="0">
                <a:solidFill>
                  <a:schemeClr val="bg1"/>
                </a:solidFill>
              </a:rPr>
              <a:t>inherit(source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F() {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F.prototype</a:t>
            </a:r>
            <a:r>
              <a:rPr lang="en-US" sz="1400" dirty="0">
                <a:solidFill>
                  <a:schemeClr val="bg1"/>
                </a:solidFill>
              </a:rPr>
              <a:t> = source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return new F()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person = {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color: "brown"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say: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alert("Hi, I have " + </a:t>
            </a:r>
            <a:r>
              <a:rPr lang="en-US" sz="1400" dirty="0" err="1">
                <a:solidFill>
                  <a:schemeClr val="bg1"/>
                </a:solidFill>
              </a:rPr>
              <a:t>this.color</a:t>
            </a:r>
            <a:r>
              <a:rPr lang="en-US" sz="1400" dirty="0">
                <a:solidFill>
                  <a:schemeClr val="bg1"/>
                </a:solidFill>
              </a:rPr>
              <a:t> + " eyes"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};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mployee = inherit(person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employee.salary</a:t>
            </a:r>
            <a:r>
              <a:rPr lang="en-US" sz="1400" dirty="0">
                <a:solidFill>
                  <a:schemeClr val="bg1"/>
                </a:solidFill>
              </a:rPr>
              <a:t> = "$35,000"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employee.say</a:t>
            </a:r>
            <a:r>
              <a:rPr lang="en-US" sz="1400" dirty="0">
                <a:solidFill>
                  <a:schemeClr val="bg1"/>
                </a:solidFill>
              </a:rPr>
              <a:t>();            // =&gt; Hi, I have brown </a:t>
            </a:r>
            <a:r>
              <a:rPr lang="en-US" sz="1400" dirty="0" smtClean="0">
                <a:solidFill>
                  <a:schemeClr val="bg1"/>
                </a:solidFill>
              </a:rPr>
              <a:t>eyes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ixin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pattern #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4273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ing functionality to an object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457575"/>
            <a:ext cx="4250691" cy="375487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Extend pattern</a:t>
            </a:r>
          </a:p>
          <a:p>
            <a:r>
              <a:rPr lang="en-US" sz="1400" dirty="0">
                <a:solidFill>
                  <a:srgbClr val="1AB076"/>
                </a:solidFill>
              </a:rPr>
              <a:t>function extend(source, destination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for (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s in source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if (</a:t>
            </a:r>
            <a:r>
              <a:rPr lang="en-US" sz="1400" dirty="0" err="1">
                <a:solidFill>
                  <a:srgbClr val="1AB076"/>
                </a:solidFill>
              </a:rPr>
              <a:t>source.hasOwnProperty</a:t>
            </a:r>
            <a:r>
              <a:rPr lang="en-US" sz="1400" dirty="0">
                <a:solidFill>
                  <a:srgbClr val="1AB076"/>
                </a:solidFill>
              </a:rPr>
              <a:t>(s)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    destination[s] = source[s]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}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person = { 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color: "blue",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say: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alert("Hi, I have " + </a:t>
            </a:r>
            <a:r>
              <a:rPr lang="en-US" sz="1400" dirty="0" err="1">
                <a:solidFill>
                  <a:srgbClr val="1AB076"/>
                </a:solidFill>
              </a:rPr>
              <a:t>this.color</a:t>
            </a:r>
            <a:r>
              <a:rPr lang="en-US" sz="1400" dirty="0">
                <a:solidFill>
                  <a:srgbClr val="1AB076"/>
                </a:solidFill>
              </a:rPr>
              <a:t> + " eyes"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mployee = { salary: "$35,000" </a:t>
            </a:r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extend(person, employee);   // the extend </a:t>
            </a:r>
            <a:r>
              <a:rPr lang="en-US" sz="1400" dirty="0" smtClean="0">
                <a:solidFill>
                  <a:srgbClr val="1AB076"/>
                </a:solidFill>
              </a:rPr>
              <a:t>pattern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employee.say</a:t>
            </a:r>
            <a:r>
              <a:rPr lang="en-US" sz="1400" dirty="0">
                <a:solidFill>
                  <a:srgbClr val="1AB076"/>
                </a:solidFill>
              </a:rPr>
              <a:t>();             // =&gt; Hi, I have blue ey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570060" y="1067306"/>
            <a:ext cx="4273169" cy="1294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totypal inheritance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ten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xin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8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1670142"/>
            <a:ext cx="4294378" cy="452431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// </a:t>
            </a:r>
            <a:r>
              <a:rPr lang="en-US" sz="1200" dirty="0" err="1" smtClean="0">
                <a:solidFill>
                  <a:schemeClr val="bg1"/>
                </a:solidFill>
              </a:rPr>
              <a:t>Mixin</a:t>
            </a:r>
            <a:endParaRPr lang="en-US" sz="1200" dirty="0" smtClean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function </a:t>
            </a:r>
            <a:r>
              <a:rPr lang="en-US" sz="1200" dirty="0" err="1">
                <a:solidFill>
                  <a:schemeClr val="bg1"/>
                </a:solidFill>
              </a:rPr>
              <a:t>mixin</a:t>
            </a:r>
            <a:r>
              <a:rPr lang="en-US" sz="1200" dirty="0">
                <a:solidFill>
                  <a:schemeClr val="bg1"/>
                </a:solidFill>
              </a:rPr>
              <a:t>(sources, destination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for (</a:t>
            </a:r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 = 0, </a:t>
            </a:r>
            <a:r>
              <a:rPr lang="en-US" sz="1200" dirty="0" err="1">
                <a:solidFill>
                  <a:schemeClr val="bg1"/>
                </a:solidFill>
              </a:rPr>
              <a:t>len</a:t>
            </a:r>
            <a:r>
              <a:rPr lang="en-US" sz="1200" dirty="0">
                <a:solidFill>
                  <a:schemeClr val="bg1"/>
                </a:solidFill>
              </a:rPr>
              <a:t> = </a:t>
            </a:r>
            <a:r>
              <a:rPr lang="en-US" sz="1200" dirty="0" err="1">
                <a:solidFill>
                  <a:schemeClr val="bg1"/>
                </a:solidFill>
              </a:rPr>
              <a:t>sources.length</a:t>
            </a:r>
            <a:r>
              <a:rPr lang="en-US" sz="1200" dirty="0">
                <a:solidFill>
                  <a:schemeClr val="bg1"/>
                </a:solidFill>
              </a:rPr>
              <a:t>;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 &lt; </a:t>
            </a:r>
            <a:r>
              <a:rPr lang="en-US" sz="1200" dirty="0" err="1">
                <a:solidFill>
                  <a:schemeClr val="bg1"/>
                </a:solidFill>
              </a:rPr>
              <a:t>len</a:t>
            </a:r>
            <a:r>
              <a:rPr lang="en-US" sz="1200" dirty="0">
                <a:solidFill>
                  <a:schemeClr val="bg1"/>
                </a:solidFill>
              </a:rPr>
              <a:t>;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++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</a:t>
            </a:r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source = sources[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];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for (</a:t>
            </a:r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s in source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    if (</a:t>
            </a:r>
            <a:r>
              <a:rPr lang="en-US" sz="1200" dirty="0" err="1">
                <a:solidFill>
                  <a:schemeClr val="bg1"/>
                </a:solidFill>
              </a:rPr>
              <a:t>source.hasOwnProperty</a:t>
            </a:r>
            <a:r>
              <a:rPr lang="en-US" sz="1200" dirty="0">
                <a:solidFill>
                  <a:schemeClr val="bg1"/>
                </a:solidFill>
              </a:rPr>
              <a:t>(s)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        destination[s] = source[s];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}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Employee = function (name, gender, age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this.name = name; 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</a:t>
            </a:r>
            <a:r>
              <a:rPr lang="en-US" sz="1200" dirty="0" err="1">
                <a:solidFill>
                  <a:schemeClr val="bg1"/>
                </a:solidFill>
              </a:rPr>
              <a:t>this.age</a:t>
            </a:r>
            <a:r>
              <a:rPr lang="en-US" sz="1200" dirty="0">
                <a:solidFill>
                  <a:schemeClr val="bg1"/>
                </a:solidFill>
              </a:rPr>
              <a:t> = age; 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</a:t>
            </a:r>
            <a:r>
              <a:rPr lang="en-US" sz="1200" dirty="0" err="1">
                <a:solidFill>
                  <a:schemeClr val="bg1"/>
                </a:solidFill>
              </a:rPr>
              <a:t>this.gender</a:t>
            </a:r>
            <a:r>
              <a:rPr lang="en-US" sz="1200" dirty="0">
                <a:solidFill>
                  <a:schemeClr val="bg1"/>
                </a:solidFill>
              </a:rPr>
              <a:t> = gender;</a:t>
            </a:r>
          </a:p>
          <a:p>
            <a:r>
              <a:rPr lang="en-US" sz="1200" dirty="0">
                <a:solidFill>
                  <a:schemeClr val="bg1"/>
                </a:solidFill>
              </a:rPr>
              <a:t>}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employees = [];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John", "Male", 33));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Peter", "Male", 45));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Ann", "Female", 32));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Tiffany", "Female", 19));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ixin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pattern #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662001" cy="463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xin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atter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pies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erties from </a:t>
            </a:r>
            <a:r>
              <a:rPr lang="en-US" sz="18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 or more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urce objects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1670142"/>
            <a:ext cx="4250691" cy="440120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Continued…</a:t>
            </a: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sortable =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sortAge</a:t>
            </a:r>
            <a:r>
              <a:rPr lang="en-US" sz="1400" dirty="0">
                <a:solidFill>
                  <a:srgbClr val="1AB076"/>
                </a:solidFill>
              </a:rPr>
              <a:t>: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</a:t>
            </a:r>
            <a:r>
              <a:rPr lang="en-US" sz="1400" dirty="0" err="1">
                <a:solidFill>
                  <a:srgbClr val="1AB076"/>
                </a:solidFill>
              </a:rPr>
              <a:t>this.sort</a:t>
            </a:r>
            <a:r>
              <a:rPr lang="en-US" sz="1400" dirty="0">
                <a:solidFill>
                  <a:srgbClr val="1AB076"/>
                </a:solidFill>
              </a:rPr>
              <a:t>(function (a, b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    return </a:t>
            </a:r>
            <a:r>
              <a:rPr lang="en-US" sz="1400" dirty="0" err="1">
                <a:solidFill>
                  <a:srgbClr val="1AB076"/>
                </a:solidFill>
              </a:rPr>
              <a:t>a.age</a:t>
            </a:r>
            <a:r>
              <a:rPr lang="en-US" sz="1400" dirty="0">
                <a:solidFill>
                  <a:srgbClr val="1AB076"/>
                </a:solidFill>
              </a:rPr>
              <a:t> - </a:t>
            </a:r>
            <a:r>
              <a:rPr lang="en-US" sz="1400" dirty="0" err="1">
                <a:solidFill>
                  <a:srgbClr val="1AB076"/>
                </a:solidFill>
              </a:rPr>
              <a:t>b.age</a:t>
            </a:r>
            <a:r>
              <a:rPr lang="en-US" sz="1400" dirty="0">
                <a:solidFill>
                  <a:srgbClr val="1AB076"/>
                </a:solidFill>
              </a:rPr>
              <a:t>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}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numerable =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each: function (callback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for (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 = 0, </a:t>
            </a:r>
            <a:r>
              <a:rPr lang="en-US" sz="1400" dirty="0" err="1">
                <a:solidFill>
                  <a:srgbClr val="1AB076"/>
                </a:solidFill>
              </a:rPr>
              <a:t>len</a:t>
            </a:r>
            <a:r>
              <a:rPr lang="en-US" sz="1400" dirty="0">
                <a:solidFill>
                  <a:srgbClr val="1AB076"/>
                </a:solidFill>
              </a:rPr>
              <a:t> = </a:t>
            </a:r>
            <a:r>
              <a:rPr lang="en-US" sz="1400" dirty="0" err="1">
                <a:solidFill>
                  <a:srgbClr val="1AB076"/>
                </a:solidFill>
              </a:rPr>
              <a:t>this.length</a:t>
            </a:r>
            <a:r>
              <a:rPr lang="en-US" sz="1400" dirty="0">
                <a:solidFill>
                  <a:srgbClr val="1AB076"/>
                </a:solidFill>
              </a:rPr>
              <a:t>; 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 &lt; </a:t>
            </a:r>
            <a:r>
              <a:rPr lang="en-US" sz="1400" dirty="0" err="1">
                <a:solidFill>
                  <a:srgbClr val="1AB076"/>
                </a:solidFill>
              </a:rPr>
              <a:t>len</a:t>
            </a:r>
            <a:r>
              <a:rPr lang="en-US" sz="1400" dirty="0">
                <a:solidFill>
                  <a:srgbClr val="1AB076"/>
                </a:solidFill>
              </a:rPr>
              <a:t>; 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++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    callback(this[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]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}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mixin</a:t>
            </a:r>
            <a:r>
              <a:rPr lang="en-US" sz="1400" dirty="0">
                <a:solidFill>
                  <a:srgbClr val="1AB076"/>
                </a:solidFill>
              </a:rPr>
              <a:t>([sortable, enumerable], employees</a:t>
            </a:r>
            <a:r>
              <a:rPr lang="en-US" sz="1400" dirty="0" smtClean="0">
                <a:solidFill>
                  <a:srgbClr val="1AB076"/>
                </a:solidFill>
              </a:rPr>
              <a:t>)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employees.sortAge</a:t>
            </a:r>
            <a:r>
              <a:rPr lang="en-US" sz="1400" dirty="0">
                <a:solidFill>
                  <a:srgbClr val="1AB076"/>
                </a:solidFill>
              </a:rPr>
              <a:t>();</a:t>
            </a:r>
          </a:p>
          <a:p>
            <a:r>
              <a:rPr lang="en-US" sz="1400" dirty="0" err="1">
                <a:solidFill>
                  <a:srgbClr val="1AB076"/>
                </a:solidFill>
              </a:rPr>
              <a:t>employees.each</a:t>
            </a:r>
            <a:r>
              <a:rPr lang="en-US" sz="1400" dirty="0">
                <a:solidFill>
                  <a:srgbClr val="1AB076"/>
                </a:solidFill>
              </a:rPr>
              <a:t>(function (item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</a:t>
            </a:r>
            <a:r>
              <a:rPr lang="en-US" sz="1400" dirty="0" smtClean="0">
                <a:solidFill>
                  <a:srgbClr val="1AB076"/>
                </a:solidFill>
              </a:rPr>
              <a:t>alert(item.name </a:t>
            </a:r>
            <a:r>
              <a:rPr lang="en-US" sz="1400" dirty="0">
                <a:solidFill>
                  <a:srgbClr val="1AB076"/>
                </a:solidFill>
              </a:rPr>
              <a:t>+ " " + </a:t>
            </a:r>
            <a:r>
              <a:rPr lang="en-US" sz="1400" dirty="0" err="1">
                <a:solidFill>
                  <a:srgbClr val="1AB076"/>
                </a:solidFill>
              </a:rPr>
              <a:t>item.age</a:t>
            </a:r>
            <a:r>
              <a:rPr lang="en-US" sz="1400" dirty="0">
                <a:solidFill>
                  <a:srgbClr val="1AB076"/>
                </a:solidFill>
              </a:rPr>
              <a:t>);   // =&gt; Tiffany 19, Ann 32, </a:t>
            </a:r>
            <a:r>
              <a:rPr lang="en-US" sz="1400" dirty="0" smtClean="0">
                <a:solidFill>
                  <a:srgbClr val="1AB076"/>
                </a:solidFill>
              </a:rPr>
              <a:t> //    </a:t>
            </a:r>
            <a:r>
              <a:rPr lang="en-US" sz="1400" dirty="0">
                <a:solidFill>
                  <a:srgbClr val="1AB076"/>
                </a:solidFill>
              </a:rPr>
              <a:t>John 33, Peter 45   </a:t>
            </a:r>
            <a:r>
              <a:rPr lang="en-US" sz="1400" dirty="0" smtClean="0">
                <a:solidFill>
                  <a:srgbClr val="1AB076"/>
                </a:solidFill>
              </a:rPr>
              <a:t>});</a:t>
            </a:r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1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2749134"/>
            <a:ext cx="4294378" cy="34163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// </a:t>
            </a:r>
            <a:r>
              <a:rPr lang="en-US" sz="1200" dirty="0" smtClean="0">
                <a:solidFill>
                  <a:schemeClr val="bg1"/>
                </a:solidFill>
              </a:rPr>
              <a:t>require.js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require.config</a:t>
            </a:r>
            <a:r>
              <a:rPr lang="en-US" sz="1200" dirty="0">
                <a:solidFill>
                  <a:schemeClr val="bg1"/>
                </a:solidFill>
              </a:rPr>
              <a:t>(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paths: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</a:t>
            </a:r>
            <a:r>
              <a:rPr lang="en-US" sz="1200" dirty="0" err="1">
                <a:solidFill>
                  <a:schemeClr val="bg1"/>
                </a:solidFill>
              </a:rPr>
              <a:t>jquery</a:t>
            </a:r>
            <a:r>
              <a:rPr lang="en-US" sz="1200" dirty="0">
                <a:solidFill>
                  <a:schemeClr val="bg1"/>
                </a:solidFill>
              </a:rPr>
              <a:t>: "</a:t>
            </a:r>
            <a:r>
              <a:rPr lang="en-US" sz="1200" dirty="0" err="1">
                <a:solidFill>
                  <a:schemeClr val="bg1"/>
                </a:solidFill>
              </a:rPr>
              <a:t>jquery</a:t>
            </a:r>
            <a:r>
              <a:rPr lang="en-US" sz="1200" dirty="0">
                <a:solidFill>
                  <a:schemeClr val="bg1"/>
                </a:solidFill>
              </a:rPr>
              <a:t>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ule1: "modules/module1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ule2: "modules/module2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ule3: "modules/module3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});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require(["</a:t>
            </a:r>
            <a:r>
              <a:rPr lang="en-US" sz="1200" dirty="0" err="1">
                <a:solidFill>
                  <a:schemeClr val="bg1"/>
                </a:solidFill>
              </a:rPr>
              <a:t>jquery</a:t>
            </a:r>
            <a:r>
              <a:rPr lang="en-US" sz="1200" dirty="0">
                <a:solidFill>
                  <a:schemeClr val="bg1"/>
                </a:solidFill>
              </a:rPr>
              <a:t>", "module1"], function ($, mod1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// hook button up with click event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$("#clicker").on('click', function (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1.go();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});</a:t>
            </a:r>
          </a:p>
          <a:p>
            <a:r>
              <a:rPr lang="en-US" sz="1200" dirty="0">
                <a:solidFill>
                  <a:schemeClr val="bg1"/>
                </a:solidFill>
              </a:rPr>
              <a:t>});</a:t>
            </a:r>
            <a:endParaRPr lang="en-US" sz="1200" dirty="0" smtClean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MD Pattern – require.js (implementation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66200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MD: define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ules and their dependencies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- load asynchronous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fig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Require, Defin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6 – Will probably do this built-in: module, import, expor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730846"/>
            <a:ext cx="4250691" cy="33239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Module define function (require)…</a:t>
            </a:r>
          </a:p>
          <a:p>
            <a:r>
              <a:rPr lang="en-US" sz="1400" dirty="0">
                <a:solidFill>
                  <a:srgbClr val="1AB076"/>
                </a:solidFill>
              </a:rPr>
              <a:t>define("</a:t>
            </a:r>
            <a:r>
              <a:rPr lang="en-US" sz="1400" dirty="0" err="1">
                <a:solidFill>
                  <a:srgbClr val="1AB076"/>
                </a:solidFill>
              </a:rPr>
              <a:t>moduleName</a:t>
            </a:r>
            <a:r>
              <a:rPr lang="en-US" sz="1400" dirty="0">
                <a:solidFill>
                  <a:srgbClr val="1AB076"/>
                </a:solidFill>
              </a:rPr>
              <a:t>", ["</a:t>
            </a:r>
            <a:r>
              <a:rPr lang="en-US" sz="1400" dirty="0" err="1">
                <a:solidFill>
                  <a:srgbClr val="1AB076"/>
                </a:solidFill>
              </a:rPr>
              <a:t>jquery</a:t>
            </a:r>
            <a:r>
              <a:rPr lang="en-US" sz="1400" dirty="0">
                <a:solidFill>
                  <a:srgbClr val="1AB076"/>
                </a:solidFill>
              </a:rPr>
              <a:t>", "</a:t>
            </a:r>
            <a:r>
              <a:rPr lang="en-US" sz="1400" dirty="0" err="1">
                <a:solidFill>
                  <a:srgbClr val="1AB076"/>
                </a:solidFill>
              </a:rPr>
              <a:t>myapp</a:t>
            </a:r>
            <a:r>
              <a:rPr lang="en-US" sz="1400" dirty="0">
                <a:solidFill>
                  <a:srgbClr val="1AB076"/>
                </a:solidFill>
              </a:rPr>
              <a:t>"], function ($, </a:t>
            </a:r>
            <a:r>
              <a:rPr lang="en-US" sz="1400" dirty="0" err="1">
                <a:solidFill>
                  <a:srgbClr val="1AB076"/>
                </a:solidFill>
              </a:rPr>
              <a:t>myapp</a:t>
            </a:r>
            <a:r>
              <a:rPr lang="en-US" sz="1400" dirty="0">
                <a:solidFill>
                  <a:srgbClr val="1AB076"/>
                </a:solidFill>
              </a:rPr>
              <a:t>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// define your module... 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// module1.js (depends on mod2…)</a:t>
            </a:r>
          </a:p>
          <a:p>
            <a:r>
              <a:rPr lang="en-US" sz="1400" dirty="0">
                <a:solidFill>
                  <a:srgbClr val="1AB076"/>
                </a:solidFill>
              </a:rPr>
              <a:t>define(["module2"], function (mod2)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go =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alert("- I am in Module1 \n" + mod2.go()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return { go: go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);</a:t>
            </a:r>
            <a:endParaRPr lang="en-US" sz="1400" dirty="0" smtClean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928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: </a:t>
            </a:r>
            <a:endParaRPr lang="en-US" sz="2400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lassic Design Patter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1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1: </a:t>
            </a:r>
            <a:endParaRPr lang="en-US" sz="2400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5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ic Design Pattern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59596"/>
              </p:ext>
            </p:extLst>
          </p:nvPr>
        </p:nvGraphicFramePr>
        <p:xfrm>
          <a:off x="263683" y="697220"/>
          <a:ext cx="8450549" cy="5182372"/>
        </p:xfrm>
        <a:graphic>
          <a:graphicData uri="http://schemas.openxmlformats.org/drawingml/2006/table">
            <a:tbl>
              <a:tblPr/>
              <a:tblGrid>
                <a:gridCol w="2293719"/>
                <a:gridCol w="6156830"/>
              </a:tblGrid>
              <a:tr h="546377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 Creational Patterns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Abstract Factory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Creates an instance of several object families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Builder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Separates object construction from its representation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Factory Method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Creates an instance of several related objects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Prototype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fully initialized instance to be copied or cloned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Singleton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An object of which only a single instance can exist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64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433778"/>
              </p:ext>
            </p:extLst>
          </p:nvPr>
        </p:nvGraphicFramePr>
        <p:xfrm>
          <a:off x="216190" y="524295"/>
          <a:ext cx="8562050" cy="5611328"/>
        </p:xfrm>
        <a:graphic>
          <a:graphicData uri="http://schemas.openxmlformats.org/drawingml/2006/table">
            <a:tbl>
              <a:tblPr/>
              <a:tblGrid>
                <a:gridCol w="2323985"/>
                <a:gridCol w="6238065"/>
              </a:tblGrid>
              <a:tr h="432364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Structural Patterns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Adapter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Match interfaces of different objects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Bridge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Separates an object’s interface from its implementation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Composite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tree structure of simple and composite objects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Decorator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dd responsibilities to objects dynamically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Façade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single object that represents an entire subsystem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Flyweight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fine-grained instance used for efficient sharing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Proxy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An object representing another object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ic Design Pattern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28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045583"/>
              </p:ext>
            </p:extLst>
          </p:nvPr>
        </p:nvGraphicFramePr>
        <p:xfrm>
          <a:off x="216190" y="531868"/>
          <a:ext cx="8562050" cy="5586988"/>
        </p:xfrm>
        <a:graphic>
          <a:graphicData uri="http://schemas.openxmlformats.org/drawingml/2006/table">
            <a:tbl>
              <a:tblPr/>
              <a:tblGrid>
                <a:gridCol w="2323984"/>
                <a:gridCol w="6238066"/>
              </a:tblGrid>
              <a:tr h="282887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 Behavioral Pattern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Chain of Resp.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way of passing a request between a chain of object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Command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Encapsulate a command request as an object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Interprete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way to include language elements in a program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Iterato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Sequentially access the elements of a collection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Mediato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Defines simplified communication between object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Memento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Capture and restore an object's internal state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Observe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way of notifying change to a number of object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State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lter an object's behavior when its state change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Strategy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Encapsulates an algorithm inside an object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Template Method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Defer the exact steps of an algorithm to another object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Visito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Defines a new operation to an object without change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ic Design Pattern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0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4</a:t>
            </a: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endParaRPr lang="en-US" sz="2400" kern="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ti Patterns and Best Practice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52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4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ti Patterns and Best Practice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8912" y="822960"/>
            <a:ext cx="8055864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Polluting the global </a:t>
            </a:r>
            <a:r>
              <a:rPr lang="en-US" sz="1400" dirty="0" smtClean="0"/>
              <a:t>namespa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Passing </a:t>
            </a:r>
            <a:r>
              <a:rPr lang="en-US" sz="1400" dirty="0"/>
              <a:t>strings rather than functions to either </a:t>
            </a:r>
            <a:r>
              <a:rPr lang="en-US" sz="1400" dirty="0" err="1"/>
              <a:t>setTimeout</a:t>
            </a:r>
            <a:r>
              <a:rPr lang="en-US" sz="1400" dirty="0"/>
              <a:t> or </a:t>
            </a:r>
            <a:r>
              <a:rPr lang="en-US" sz="1400" dirty="0" err="1" smtClean="0"/>
              <a:t>setInterval</a:t>
            </a:r>
            <a:endParaRPr lang="en-US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Modifying </a:t>
            </a:r>
            <a:r>
              <a:rPr lang="en-US" sz="1400" dirty="0"/>
              <a:t>the Object class </a:t>
            </a:r>
            <a:r>
              <a:rPr lang="en-US" sz="1400" dirty="0" smtClean="0"/>
              <a:t>prototyp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Using </a:t>
            </a:r>
            <a:r>
              <a:rPr lang="en-US" sz="1400" dirty="0"/>
              <a:t>JavaScript in an inline form as this is </a:t>
            </a:r>
            <a:r>
              <a:rPr lang="en-US" sz="1400" dirty="0" smtClean="0"/>
              <a:t>inflexib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The </a:t>
            </a:r>
            <a:r>
              <a:rPr lang="en-US" sz="1400" dirty="0"/>
              <a:t>use of </a:t>
            </a:r>
            <a:r>
              <a:rPr lang="en-US" sz="1400" dirty="0" err="1" smtClean="0"/>
              <a:t>document.write</a:t>
            </a:r>
            <a:endParaRPr lang="en-US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void using JavaScript's </a:t>
            </a:r>
            <a:r>
              <a:rPr lang="en-US" sz="1400" dirty="0" err="1" smtClean="0"/>
              <a:t>eval</a:t>
            </a:r>
            <a:endParaRPr lang="en-US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M</a:t>
            </a:r>
            <a:r>
              <a:rPr lang="en-US" sz="1400" dirty="0" smtClean="0"/>
              <a:t>inimize </a:t>
            </a:r>
            <a:r>
              <a:rPr lang="en-US" sz="1400" dirty="0"/>
              <a:t>the use of for-in loops. Regular for loops are much faster</a:t>
            </a:r>
            <a:r>
              <a:rPr lang="en-US" sz="14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DOM access is slow. Store references to frequently used DOM objects in local </a:t>
            </a:r>
            <a:r>
              <a:rPr lang="en-US" sz="1400" dirty="0" smtClean="0"/>
              <a:t>variabl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lways upper case the first letter of your constructor function </a:t>
            </a:r>
            <a:r>
              <a:rPr lang="en-US" sz="1400" dirty="0" smtClean="0"/>
              <a:t>nam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Use try/catch </a:t>
            </a:r>
            <a:r>
              <a:rPr lang="en-US" sz="1400" dirty="0" smtClean="0"/>
              <a:t>sparing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Minimize HTTP </a:t>
            </a:r>
            <a:r>
              <a:rPr lang="en-US" sz="1400" dirty="0" smtClean="0"/>
              <a:t>reques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Use patterns where </a:t>
            </a:r>
            <a:r>
              <a:rPr lang="en-US" sz="1400" dirty="0" smtClean="0"/>
              <a:t>appropriate – don’t go “pattern happy”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96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onathan.wax@owapps.com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216190" y="951785"/>
            <a:ext cx="8097858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hlinkClick r:id="rId6"/>
              </a:rPr>
              <a:t>http</a:t>
            </a:r>
            <a:r>
              <a:rPr lang="en-US" sz="1600" dirty="0">
                <a:hlinkClick r:id="rId6"/>
              </a:rPr>
              <a:t>://</a:t>
            </a:r>
            <a:r>
              <a:rPr lang="en-US" sz="1600" dirty="0" smtClean="0">
                <a:hlinkClick r:id="rId6"/>
              </a:rPr>
              <a:t>addyosmani.com/blog</a:t>
            </a:r>
            <a:r>
              <a:rPr lang="en-US" sz="1600" dirty="0"/>
              <a:t> </a:t>
            </a:r>
            <a:endParaRPr lang="en-US" sz="1600" dirty="0" smtClean="0"/>
          </a:p>
          <a:p>
            <a:r>
              <a:rPr lang="en-US" sz="1600" dirty="0">
                <a:hlinkClick r:id="rId7"/>
              </a:rPr>
              <a:t>https://github.com/addyosmani/essential-js-design-patterns</a:t>
            </a:r>
          </a:p>
          <a:p>
            <a:r>
              <a:rPr lang="en-US" sz="1600" dirty="0" smtClean="0">
                <a:hlinkClick r:id="rId7"/>
              </a:rPr>
              <a:t>http</a:t>
            </a:r>
            <a:r>
              <a:rPr lang="en-US" sz="1600" dirty="0">
                <a:hlinkClick r:id="rId7"/>
              </a:rPr>
              <a:t>://</a:t>
            </a:r>
            <a:r>
              <a:rPr lang="en-US" sz="1600" dirty="0" smtClean="0">
                <a:hlinkClick r:id="rId7"/>
              </a:rPr>
              <a:t>addyosmani.com/resources/essentialjsdesignpatterns/book</a:t>
            </a:r>
            <a:r>
              <a:rPr lang="en-US" sz="1600" dirty="0" smtClean="0"/>
              <a:t> </a:t>
            </a:r>
          </a:p>
          <a:p>
            <a:endParaRPr lang="en-US" sz="1600" dirty="0"/>
          </a:p>
          <a:p>
            <a:r>
              <a:rPr lang="en-US" sz="1600" dirty="0" smtClean="0">
                <a:hlinkClick r:id="rId8"/>
              </a:rPr>
              <a:t>http</a:t>
            </a:r>
            <a:r>
              <a:rPr lang="en-US" sz="1600" dirty="0">
                <a:hlinkClick r:id="rId8"/>
              </a:rPr>
              <a:t>://www.dofactory.com/javascript/design-patterns</a:t>
            </a:r>
            <a:r>
              <a:rPr lang="en-US" sz="1600" dirty="0"/>
              <a:t> </a:t>
            </a:r>
            <a:r>
              <a:rPr lang="en-US" sz="1600" dirty="0" smtClean="0"/>
              <a:t>($)</a:t>
            </a:r>
          </a:p>
          <a:p>
            <a:endParaRPr lang="en-US" sz="1600" dirty="0"/>
          </a:p>
          <a:p>
            <a:r>
              <a:rPr lang="en-US" sz="1600" dirty="0">
                <a:hlinkClick r:id="rId9"/>
              </a:rPr>
              <a:t>http://trochette.github.io/Angular-Design-Patterns-Best-Practices/#/</a:t>
            </a:r>
            <a:r>
              <a:rPr lang="en-US" sz="1600" dirty="0" smtClean="0">
                <a:hlinkClick r:id="rId9"/>
              </a:rPr>
              <a:t>intro</a:t>
            </a:r>
            <a:r>
              <a:rPr lang="en-US" sz="1600" dirty="0" smtClean="0"/>
              <a:t> </a:t>
            </a:r>
          </a:p>
          <a:p>
            <a:endParaRPr lang="en-US" sz="1600" dirty="0"/>
          </a:p>
          <a:p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egghead.io/lessons/angularjs-design-patterns-mixin</a:t>
            </a:r>
            <a:r>
              <a:rPr lang="en-US" sz="1600" dirty="0" smtClean="0"/>
              <a:t> </a:t>
            </a:r>
          </a:p>
          <a:p>
            <a:endParaRPr lang="en-US" sz="1600" dirty="0"/>
          </a:p>
          <a:p>
            <a:r>
              <a:rPr lang="en-US" sz="1600" dirty="0">
                <a:hlinkClick r:id="rId11"/>
              </a:rPr>
              <a:t>http://blog.mgechev.com/2014/05/08/angularjs-in-patterns-part-1-overview-of-angularjs</a:t>
            </a:r>
            <a:r>
              <a:rPr lang="en-US" sz="1600" dirty="0" smtClean="0">
                <a:hlinkClick r:id="rId11"/>
              </a:rPr>
              <a:t>/</a:t>
            </a:r>
            <a:r>
              <a:rPr lang="en-US" sz="1600" dirty="0" smtClean="0"/>
              <a:t>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3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"/>
          <p:cNvPicPr/>
          <p:nvPr/>
        </p:nvPicPr>
        <p:blipFill>
          <a:blip r:embed="rId6"/>
          <a:stretch>
            <a:fillRect/>
          </a:stretch>
        </p:blipFill>
        <p:spPr bwMode="auto">
          <a:xfrm>
            <a:off x="2897814" y="1182623"/>
            <a:ext cx="5798820" cy="4434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8750" y="558909"/>
            <a:ext cx="8444484" cy="577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OFEA: Service Oriented – Front End Architectur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308011" y="2037710"/>
            <a:ext cx="367258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 MVC App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ular App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y Framework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l require Solid Coding Practices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sign Patterns to the rescue!</a:t>
            </a: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84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8750" y="854793"/>
            <a:ext cx="84444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Why use Design Patterns?</a:t>
            </a:r>
            <a:endParaRPr lang="en-US" sz="2800" dirty="0">
              <a:solidFill>
                <a:srgbClr val="1AB076"/>
              </a:solidFill>
              <a:latin typeface="Open Sans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are proven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lution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are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usable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provide a common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ocabulary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build confidence</a:t>
            </a:r>
          </a:p>
        </p:txBody>
      </p:sp>
      <p:pic>
        <p:nvPicPr>
          <p:cNvPr id="95256" name="Picture 24" descr="Book cover for Learning JavaScript Design Pattern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7116" y="4023384"/>
            <a:ext cx="1513375" cy="198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912" y="4023384"/>
            <a:ext cx="1428750" cy="1981200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8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8750" y="854793"/>
            <a:ext cx="844448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What is a design pattern?</a:t>
            </a:r>
            <a:endParaRPr lang="en-US" sz="2800" dirty="0">
              <a:solidFill>
                <a:srgbClr val="1AB076"/>
              </a:solidFill>
              <a:latin typeface="Open Sans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sential elements </a:t>
            </a: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a pattern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pattern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ame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blem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lution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equences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61976" y="2430439"/>
            <a:ext cx="4657725" cy="3724275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067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8750" y="570124"/>
            <a:ext cx="8444484" cy="504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 is a class-less, but object-oriented (OO)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nguage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1144125"/>
            <a:ext cx="36033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OO - </a:t>
            </a:r>
            <a:r>
              <a:rPr lang="en-US" sz="2400" dirty="0" smtClean="0">
                <a:solidFill>
                  <a:srgbClr val="1AB076"/>
                </a:solidFill>
                <a:latin typeface="Open Sans"/>
              </a:rPr>
              <a:t>Encapsulation</a:t>
            </a:r>
            <a:endParaRPr lang="en-US" sz="2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8750" y="2665289"/>
            <a:ext cx="4294378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mployee = function (name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this.name = name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getName</a:t>
            </a:r>
            <a:r>
              <a:rPr lang="en-US" sz="1400" dirty="0">
                <a:solidFill>
                  <a:schemeClr val="bg1"/>
                </a:solidFill>
              </a:rPr>
              <a:t> = function ()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	</a:t>
            </a:r>
            <a:r>
              <a:rPr lang="en-US" sz="1400" dirty="0" smtClean="0">
                <a:solidFill>
                  <a:schemeClr val="bg1"/>
                </a:solidFill>
              </a:rPr>
              <a:t>{ </a:t>
            </a:r>
            <a:r>
              <a:rPr lang="en-US" sz="1400" dirty="0">
                <a:solidFill>
                  <a:schemeClr val="bg1"/>
                </a:solidFill>
              </a:rPr>
              <a:t>return this.name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etName</a:t>
            </a:r>
            <a:r>
              <a:rPr lang="en-US" sz="1400" dirty="0">
                <a:solidFill>
                  <a:schemeClr val="bg1"/>
                </a:solidFill>
              </a:rPr>
              <a:t> = function (name)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	</a:t>
            </a:r>
            <a:r>
              <a:rPr lang="en-US" sz="1400" dirty="0" smtClean="0">
                <a:solidFill>
                  <a:schemeClr val="bg1"/>
                </a:solidFill>
              </a:rPr>
              <a:t>{ </a:t>
            </a:r>
            <a:r>
              <a:rPr lang="en-US" sz="1400" dirty="0">
                <a:solidFill>
                  <a:schemeClr val="bg1"/>
                </a:solidFill>
              </a:rPr>
              <a:t>this.name = name;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mployee = new Employee("Mike"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employee.setName</a:t>
            </a:r>
            <a:r>
              <a:rPr lang="en-US" sz="1400" dirty="0">
                <a:solidFill>
                  <a:schemeClr val="bg1"/>
                </a:solidFill>
              </a:rPr>
              <a:t>("David"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employee.getName</a:t>
            </a:r>
            <a:r>
              <a:rPr lang="en-US" sz="1400" dirty="0">
                <a:solidFill>
                  <a:schemeClr val="bg1"/>
                </a:solidFill>
              </a:rPr>
              <a:t>());   // =&gt; David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employee.name = "Peter";</a:t>
            </a:r>
          </a:p>
          <a:p>
            <a:r>
              <a:rPr lang="en-US" sz="1400" dirty="0">
                <a:solidFill>
                  <a:schemeClr val="bg1"/>
                </a:solidFill>
              </a:rPr>
              <a:t>alert(employee.name);        // =&gt; </a:t>
            </a:r>
            <a:r>
              <a:rPr lang="en-US" sz="1400" dirty="0" smtClean="0">
                <a:solidFill>
                  <a:schemeClr val="bg1"/>
                </a:solidFill>
              </a:rPr>
              <a:t>Peter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8750" y="1882789"/>
            <a:ext cx="3807171" cy="463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hide Object Members?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90288" y="2649174"/>
            <a:ext cx="4250691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mployee = function (name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hiddenName</a:t>
            </a:r>
            <a:r>
              <a:rPr lang="en-US" sz="1400" dirty="0">
                <a:solidFill>
                  <a:srgbClr val="1AB076"/>
                </a:solidFill>
              </a:rPr>
              <a:t> = name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return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</a:t>
            </a:r>
            <a:r>
              <a:rPr lang="en-US" sz="1400" dirty="0" err="1">
                <a:solidFill>
                  <a:srgbClr val="1AB076"/>
                </a:solidFill>
              </a:rPr>
              <a:t>getName</a:t>
            </a:r>
            <a:r>
              <a:rPr lang="en-US" sz="1400" dirty="0">
                <a:solidFill>
                  <a:srgbClr val="1AB076"/>
                </a:solidFill>
              </a:rPr>
              <a:t>: function () </a:t>
            </a:r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	</a:t>
            </a:r>
            <a:r>
              <a:rPr lang="en-US" sz="1400" dirty="0" smtClean="0">
                <a:solidFill>
                  <a:srgbClr val="1AB076"/>
                </a:solidFill>
              </a:rPr>
              <a:t>{ </a:t>
            </a:r>
            <a:r>
              <a:rPr lang="en-US" sz="1400" dirty="0">
                <a:solidFill>
                  <a:srgbClr val="1AB076"/>
                </a:solidFill>
              </a:rPr>
              <a:t>return </a:t>
            </a:r>
            <a:r>
              <a:rPr lang="en-US" sz="1400" dirty="0" err="1">
                <a:solidFill>
                  <a:srgbClr val="1AB076"/>
                </a:solidFill>
              </a:rPr>
              <a:t>hiddenName</a:t>
            </a:r>
            <a:r>
              <a:rPr lang="en-US" sz="1400" dirty="0">
                <a:solidFill>
                  <a:srgbClr val="1AB076"/>
                </a:solidFill>
              </a:rPr>
              <a:t>; },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</a:t>
            </a:r>
            <a:r>
              <a:rPr lang="en-US" sz="1400" dirty="0" err="1">
                <a:solidFill>
                  <a:srgbClr val="1AB076"/>
                </a:solidFill>
              </a:rPr>
              <a:t>setName</a:t>
            </a:r>
            <a:r>
              <a:rPr lang="en-US" sz="1400" dirty="0">
                <a:solidFill>
                  <a:srgbClr val="1AB076"/>
                </a:solidFill>
              </a:rPr>
              <a:t>: function (name) </a:t>
            </a:r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	</a:t>
            </a:r>
            <a:r>
              <a:rPr lang="en-US" sz="1400" dirty="0" smtClean="0">
                <a:solidFill>
                  <a:srgbClr val="1AB076"/>
                </a:solidFill>
              </a:rPr>
              <a:t>{ </a:t>
            </a:r>
            <a:r>
              <a:rPr lang="en-US" sz="1400" dirty="0" err="1">
                <a:solidFill>
                  <a:srgbClr val="1AB076"/>
                </a:solidFill>
              </a:rPr>
              <a:t>hiddenName</a:t>
            </a:r>
            <a:r>
              <a:rPr lang="en-US" sz="1400" dirty="0">
                <a:solidFill>
                  <a:srgbClr val="1AB076"/>
                </a:solidFill>
              </a:rPr>
              <a:t> = name; }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mployee = new Employee("Mike"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employee.setName</a:t>
            </a:r>
            <a:r>
              <a:rPr lang="en-US" sz="1400" dirty="0">
                <a:solidFill>
                  <a:srgbClr val="1AB076"/>
                </a:solidFill>
              </a:rPr>
              <a:t>("David"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employee.getName</a:t>
            </a:r>
            <a:r>
              <a:rPr lang="en-US" sz="1400" dirty="0">
                <a:solidFill>
                  <a:srgbClr val="1AB076"/>
                </a:solidFill>
              </a:rPr>
              <a:t>());      // =&gt; David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employee.hiddenName</a:t>
            </a:r>
            <a:r>
              <a:rPr lang="en-US" sz="1400" dirty="0">
                <a:solidFill>
                  <a:srgbClr val="1AB076"/>
                </a:solidFill>
              </a:rPr>
              <a:t>);     // =&gt; undefined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027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1AB076"/>
                </a:solidFill>
                <a:latin typeface="Open Sans"/>
              </a:rPr>
              <a:t>OO - Inheritance</a:t>
            </a:r>
            <a:endParaRPr lang="en-US" sz="2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8750" y="2665289"/>
            <a:ext cx="4294378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Car “has a” Engine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 smtClean="0">
                <a:solidFill>
                  <a:schemeClr val="bg1"/>
                </a:solidFill>
              </a:rPr>
              <a:t>var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Engine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cylinders</a:t>
            </a:r>
            <a:r>
              <a:rPr lang="en-US" sz="1400" dirty="0">
                <a:solidFill>
                  <a:schemeClr val="bg1"/>
                </a:solidFill>
              </a:rPr>
              <a:t> = 4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r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engine</a:t>
            </a:r>
            <a:r>
              <a:rPr lang="en-US" sz="1400" dirty="0">
                <a:solidFill>
                  <a:schemeClr val="bg1"/>
                </a:solidFill>
              </a:rPr>
              <a:t> = new Engine(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ford = new Car(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ford.engine.cylinders</a:t>
            </a:r>
            <a:r>
              <a:rPr lang="en-US" sz="1400" dirty="0">
                <a:solidFill>
                  <a:schemeClr val="bg1"/>
                </a:solidFill>
              </a:rPr>
              <a:t>);   // =&gt; 4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42943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"has a" or "is a"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lationship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totypal inheritanc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90288" y="1156743"/>
            <a:ext cx="425069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Toyota “is a” Car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 err="1" smtClean="0">
                <a:solidFill>
                  <a:srgbClr val="1AB076"/>
                </a:solidFill>
              </a:rPr>
              <a:t>var</a:t>
            </a:r>
            <a:r>
              <a:rPr lang="en-US" sz="1400" dirty="0" smtClean="0">
                <a:solidFill>
                  <a:srgbClr val="1AB076"/>
                </a:solidFill>
              </a:rPr>
              <a:t> </a:t>
            </a:r>
            <a:r>
              <a:rPr lang="en-US" sz="1400" dirty="0">
                <a:solidFill>
                  <a:srgbClr val="1AB076"/>
                </a:solidFill>
              </a:rPr>
              <a:t>Car =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wheels</a:t>
            </a:r>
            <a:r>
              <a:rPr lang="en-US" sz="1400" dirty="0">
                <a:solidFill>
                  <a:srgbClr val="1AB076"/>
                </a:solidFill>
              </a:rPr>
              <a:t> = 4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doors</a:t>
            </a:r>
            <a:r>
              <a:rPr lang="en-US" sz="1400" dirty="0">
                <a:solidFill>
                  <a:srgbClr val="1AB076"/>
                </a:solidFill>
              </a:rPr>
              <a:t> = 4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Toyota = function (color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color</a:t>
            </a:r>
            <a:r>
              <a:rPr lang="en-US" sz="1400" dirty="0">
                <a:solidFill>
                  <a:srgbClr val="1AB076"/>
                </a:solidFill>
              </a:rPr>
              <a:t> = color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Toyota.prototype</a:t>
            </a:r>
            <a:r>
              <a:rPr lang="en-US" sz="1400" dirty="0">
                <a:solidFill>
                  <a:srgbClr val="1AB076"/>
                </a:solidFill>
              </a:rPr>
              <a:t> = new Car();       // set Car as 'ancestor' object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= new Toyota("red"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.color</a:t>
            </a:r>
            <a:r>
              <a:rPr lang="en-US" sz="1400" dirty="0">
                <a:solidFill>
                  <a:srgbClr val="1AB076"/>
                </a:solidFill>
              </a:rPr>
              <a:t>);                // =&gt; red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.wheels</a:t>
            </a:r>
            <a:r>
              <a:rPr lang="en-US" sz="1400" dirty="0">
                <a:solidFill>
                  <a:srgbClr val="1AB076"/>
                </a:solidFill>
              </a:rPr>
              <a:t>);               // =&gt; 4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.doors</a:t>
            </a:r>
            <a:r>
              <a:rPr lang="en-US" sz="1400" dirty="0">
                <a:solidFill>
                  <a:srgbClr val="1AB076"/>
                </a:solidFill>
              </a:rPr>
              <a:t>);                // =&gt; 4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nstanceof</a:t>
            </a:r>
            <a:r>
              <a:rPr lang="en-US" sz="1400" dirty="0">
                <a:solidFill>
                  <a:srgbClr val="1AB076"/>
                </a:solidFill>
              </a:rPr>
              <a:t> Toyota);    // =&gt; true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nstanceof</a:t>
            </a:r>
            <a:r>
              <a:rPr lang="en-US" sz="1400" dirty="0">
                <a:solidFill>
                  <a:srgbClr val="1AB076"/>
                </a:solidFill>
              </a:rPr>
              <a:t> Car);       // =&gt; true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nstanceof</a:t>
            </a:r>
            <a:r>
              <a:rPr lang="en-US" sz="1400" dirty="0">
                <a:solidFill>
                  <a:srgbClr val="1AB076"/>
                </a:solidFill>
              </a:rPr>
              <a:t> Object);    // =&gt; true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01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1AB076"/>
                </a:solidFill>
                <a:latin typeface="Open Sans"/>
              </a:rPr>
              <a:t>OO 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- Polymorphism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58750" y="4406742"/>
            <a:ext cx="4294378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We can iterate over all “Animals”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for (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 = 0, </a:t>
            </a:r>
            <a:r>
              <a:rPr lang="en-US" sz="1400" dirty="0" err="1">
                <a:solidFill>
                  <a:schemeClr val="bg1"/>
                </a:solidFill>
              </a:rPr>
              <a:t>len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animals.length</a:t>
            </a:r>
            <a:r>
              <a:rPr lang="en-US" sz="1400" dirty="0">
                <a:solidFill>
                  <a:schemeClr val="bg1"/>
                </a:solidFill>
              </a:rPr>
              <a:t>;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 &lt; </a:t>
            </a:r>
            <a:r>
              <a:rPr lang="en-US" sz="1400" dirty="0" err="1">
                <a:solidFill>
                  <a:schemeClr val="bg1"/>
                </a:solidFill>
              </a:rPr>
              <a:t>len</a:t>
            </a:r>
            <a:r>
              <a:rPr lang="en-US" sz="1400" dirty="0">
                <a:solidFill>
                  <a:schemeClr val="bg1"/>
                </a:solidFill>
              </a:rPr>
              <a:t>;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++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say();     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// I live in a pond, jungle, zoo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lert(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skin);  </a:t>
            </a:r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</a:rPr>
              <a:t>Feathers, </a:t>
            </a:r>
            <a:r>
              <a:rPr lang="en-US" sz="1400" dirty="0" err="1">
                <a:solidFill>
                  <a:schemeClr val="bg1"/>
                </a:solidFill>
              </a:rPr>
              <a:t>Furr</a:t>
            </a:r>
            <a:r>
              <a:rPr lang="en-US" sz="1400" dirty="0">
                <a:solidFill>
                  <a:schemeClr val="bg1"/>
                </a:solidFill>
              </a:rPr>
              <a:t>, Thick skin.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move();       </a:t>
            </a:r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</a:rPr>
              <a:t>I fly, I climb, I walk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talk();          // Honk, Ooh </a:t>
            </a:r>
            <a:r>
              <a:rPr lang="en-US" sz="1400" dirty="0" err="1">
                <a:solidFill>
                  <a:schemeClr val="bg1"/>
                </a:solidFill>
              </a:rPr>
              <a:t>Ooh</a:t>
            </a:r>
            <a:r>
              <a:rPr lang="en-US" sz="1400" dirty="0">
                <a:solidFill>
                  <a:schemeClr val="bg1"/>
                </a:solidFill>
              </a:rPr>
              <a:t>, Trumpet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42943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eans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many forms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ame interface, different behavior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142551"/>
            <a:ext cx="4250691" cy="609397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Animal = function (home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home</a:t>
            </a:r>
            <a:r>
              <a:rPr lang="en-US" sz="1300" dirty="0">
                <a:solidFill>
                  <a:srgbClr val="1AB076"/>
                </a:solidFill>
              </a:rPr>
              <a:t> = hom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Animal.prototype</a:t>
            </a:r>
            <a:r>
              <a:rPr lang="en-US" sz="1300" dirty="0">
                <a:solidFill>
                  <a:srgbClr val="1AB076"/>
                </a:solidFill>
              </a:rPr>
              <a:t> =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say: function (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alert("I live in a " + </a:t>
            </a:r>
            <a:r>
              <a:rPr lang="en-US" sz="1300" dirty="0" err="1">
                <a:solidFill>
                  <a:srgbClr val="1AB076"/>
                </a:solidFill>
              </a:rPr>
              <a:t>this.home</a:t>
            </a:r>
            <a:r>
              <a:rPr lang="en-US" sz="1300" dirty="0">
                <a:solidFill>
                  <a:srgbClr val="1AB076"/>
                </a:solidFill>
              </a:rPr>
              <a:t>)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}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Swan = function (skin, move, talk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kin</a:t>
            </a:r>
            <a:r>
              <a:rPr lang="en-US" sz="1300" dirty="0">
                <a:solidFill>
                  <a:srgbClr val="1AB076"/>
                </a:solidFill>
              </a:rPr>
              <a:t> = skin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move</a:t>
            </a:r>
            <a:r>
              <a:rPr lang="en-US" sz="1300" dirty="0">
                <a:solidFill>
                  <a:srgbClr val="1AB076"/>
                </a:solidFill>
              </a:rPr>
              <a:t> = mov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talk</a:t>
            </a:r>
            <a:r>
              <a:rPr lang="en-US" sz="1300" dirty="0">
                <a:solidFill>
                  <a:srgbClr val="1AB076"/>
                </a:solidFill>
              </a:rPr>
              <a:t> = talk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Swan.prototype</a:t>
            </a:r>
            <a:r>
              <a:rPr lang="en-US" sz="1300" dirty="0">
                <a:solidFill>
                  <a:srgbClr val="1AB076"/>
                </a:solidFill>
              </a:rPr>
              <a:t> = new Animal("pond")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Monkey = function (skin, move, talk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kin</a:t>
            </a:r>
            <a:r>
              <a:rPr lang="en-US" sz="1300" dirty="0">
                <a:solidFill>
                  <a:srgbClr val="1AB076"/>
                </a:solidFill>
              </a:rPr>
              <a:t> = skin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move</a:t>
            </a:r>
            <a:r>
              <a:rPr lang="en-US" sz="1300" dirty="0">
                <a:solidFill>
                  <a:srgbClr val="1AB076"/>
                </a:solidFill>
              </a:rPr>
              <a:t> = mov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talk</a:t>
            </a:r>
            <a:r>
              <a:rPr lang="en-US" sz="1300" dirty="0">
                <a:solidFill>
                  <a:srgbClr val="1AB076"/>
                </a:solidFill>
              </a:rPr>
              <a:t> = talk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Monkey.prototype</a:t>
            </a:r>
            <a:r>
              <a:rPr lang="en-US" sz="1300" dirty="0">
                <a:solidFill>
                  <a:srgbClr val="1AB076"/>
                </a:solidFill>
              </a:rPr>
              <a:t> = new Animal("jungle")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Elephant = function (skin, move, talk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kin</a:t>
            </a:r>
            <a:r>
              <a:rPr lang="en-US" sz="1300" dirty="0">
                <a:solidFill>
                  <a:srgbClr val="1AB076"/>
                </a:solidFill>
              </a:rPr>
              <a:t> = skin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move</a:t>
            </a:r>
            <a:r>
              <a:rPr lang="en-US" sz="1300" dirty="0">
                <a:solidFill>
                  <a:srgbClr val="1AB076"/>
                </a:solidFill>
              </a:rPr>
              <a:t> = mov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talk</a:t>
            </a:r>
            <a:r>
              <a:rPr lang="en-US" sz="1300" dirty="0">
                <a:solidFill>
                  <a:srgbClr val="1AB076"/>
                </a:solidFill>
              </a:rPr>
              <a:t> = talk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Elephant.prototype</a:t>
            </a:r>
            <a:r>
              <a:rPr lang="en-US" sz="1300" dirty="0">
                <a:solidFill>
                  <a:srgbClr val="1AB076"/>
                </a:solidFill>
              </a:rPr>
              <a:t> = new Animal("zoo");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45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89</TotalTime>
  <Words>3525</Words>
  <Application>Microsoft Office PowerPoint</Application>
  <PresentationFormat>Custom</PresentationFormat>
  <Paragraphs>830</Paragraphs>
  <Slides>35</Slides>
  <Notes>35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1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614</cp:revision>
  <cp:lastPrinted>2008-09-19T11:06:26Z</cp:lastPrinted>
  <dcterms:created xsi:type="dcterms:W3CDTF">2010-01-27T21:29:29Z</dcterms:created>
  <dcterms:modified xsi:type="dcterms:W3CDTF">2015-11-30T12:2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